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2157" autoAdjust="0"/>
  </p:normalViewPr>
  <p:slideViewPr>
    <p:cSldViewPr snapToGrid="0">
      <p:cViewPr>
        <p:scale>
          <a:sx n="120" d="100"/>
          <a:sy n="120" d="100"/>
        </p:scale>
        <p:origin x="-5046" y="-378"/>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14F07C82-D363-4EB0-ABF8-B26890F02AD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770F4E3E-9F4A-4EE5-A329-BBA2CF13A59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73D67C94-7936-48F0-89EE-874DC7DF97D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4</c:v>
                </c:pt>
                <c:pt idx="1">
                  <c:v>0.37</c:v>
                </c:pt>
                <c:pt idx="2">
                  <c:v>0.3</c:v>
                </c:pt>
                <c:pt idx="3">
                  <c:v>0.1</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5</c15:f>
                <c15:dlblRangeCache>
                  <c:ptCount val="4"/>
                  <c:pt idx="0">
                    <c:v>24%</c:v>
                  </c:pt>
                  <c:pt idx="1">
                    <c:v>37%</c:v>
                  </c:pt>
                  <c:pt idx="2">
                    <c:v>30%</c:v>
                  </c:pt>
                  <c:pt idx="3">
                    <c:v>10%</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B01D1AB9-A319-4B95-B790-DF776BDCF33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D1396BE2-3F79-4C9B-94D9-2AD622DB0AA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3AD4D05D-A6D5-490C-B4FE-62B03DECBF9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2</c:v>
                </c:pt>
                <c:pt idx="2">
                  <c:v>0.5</c:v>
                </c:pt>
                <c:pt idx="3">
                  <c:v>0.3</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L$2:$L$5</c15:f>
                <c15:dlblRangeCache>
                  <c:ptCount val="4"/>
                  <c:pt idx="0">
                    <c:v>-</c:v>
                  </c:pt>
                  <c:pt idx="1">
                    <c:v>20%</c:v>
                  </c:pt>
                  <c:pt idx="2">
                    <c:v>49%</c:v>
                  </c:pt>
                  <c:pt idx="3">
                    <c:v>29%</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c:v>
                </c:pt>
                <c:pt idx="1">
                  <c:v>0.86</c:v>
                </c:pt>
                <c:pt idx="2">
                  <c:v>0.9</c:v>
                </c:pt>
                <c:pt idx="3">
                  <c:v>0.87</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CDA334FC-BFCA-40AF-BA46-0AD5ABDBE9C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0A598C4C-BA19-4CB8-9413-9F7832E5AEE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121EFD41-C5A4-4528-8B58-EBAC082D3C9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2</c:v>
                </c:pt>
                <c:pt idx="1">
                  <c:v>0.14000000000000001</c:v>
                </c:pt>
                <c:pt idx="2">
                  <c:v>0.1</c:v>
                </c:pt>
                <c:pt idx="3">
                  <c:v>0.13</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80%</c:v>
                  </c:pt>
                  <c:pt idx="1">
                    <c:v>86%</c:v>
                  </c:pt>
                  <c:pt idx="2">
                    <c:v>90%</c:v>
                  </c:pt>
                  <c:pt idx="3">
                    <c:v>87%</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7</c:v>
                </c:pt>
                <c:pt idx="1">
                  <c:v>0</c:v>
                </c:pt>
                <c:pt idx="2">
                  <c:v>0.79</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3445C5ED-0EB5-411F-A8FF-DA0ED7659B2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DA5E6858-BCE6-4B08-B21A-65CFCCA7B6A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BC294010-E2EB-403A-80A9-D31EAF7D6C4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F5BBA67A-C80B-490F-AC58-C7FE26007E1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3</c:v>
                </c:pt>
                <c:pt idx="1">
                  <c:v>0</c:v>
                </c:pt>
                <c:pt idx="2">
                  <c:v>0.21</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7%</c:v>
                  </c:pt>
                  <c:pt idx="1">
                    <c:v>-</c:v>
                  </c:pt>
                  <c:pt idx="2">
                    <c:v>79%</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2</c:v>
                </c:pt>
                <c:pt idx="1">
                  <c:v>0.89</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943DCB04-71D1-455B-BA95-8198D480734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CB2233B4-62FF-4D5F-A1A2-6E8B0D73CAD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1E2B0B4F-EC8C-4FB3-A7C0-C95BADFBF24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580D036F-50CC-4603-A35D-73453AAB65F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8</c:v>
                </c:pt>
                <c:pt idx="1">
                  <c:v>0.11</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2%</c:v>
                  </c:pt>
                  <c:pt idx="1">
                    <c:v>89%</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6</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0799822F-E1AE-4088-8F97-0F6E2388943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4BBCDE01-C404-4094-A853-83D5D2F5C5F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4000000000000001</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6%</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8</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2%</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68</c:v>
                </c:pt>
                <c:pt idx="1">
                  <c:v>0.81</c:v>
                </c:pt>
                <c:pt idx="2">
                  <c:v>0.83</c:v>
                </c:pt>
                <c:pt idx="3">
                  <c:v>0.79</c:v>
                </c:pt>
                <c:pt idx="4">
                  <c:v>0.85</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ADA6365C-523A-41AE-B021-DF92275F72E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5D96F0F4-48DC-43DB-8F7F-7514C45A6B9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C2F4B0F6-2244-423A-9A22-718E2E4E6E1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3F5CF8E5-E2C8-4615-9686-5DC58313629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32</c:v>
                </c:pt>
                <c:pt idx="1">
                  <c:v>0.19</c:v>
                </c:pt>
                <c:pt idx="2">
                  <c:v>0.17</c:v>
                </c:pt>
                <c:pt idx="3">
                  <c:v>0.21</c:v>
                </c:pt>
                <c:pt idx="4">
                  <c:v>0.15</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68%</c:v>
                  </c:pt>
                  <c:pt idx="1">
                    <c:v>81%</c:v>
                  </c:pt>
                  <c:pt idx="2">
                    <c:v>83%</c:v>
                  </c:pt>
                  <c:pt idx="3">
                    <c:v>79%</c:v>
                  </c:pt>
                  <c:pt idx="4">
                    <c:v>85%</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75</c:v>
                </c:pt>
                <c:pt idx="2">
                  <c:v>0.81</c:v>
                </c:pt>
                <c:pt idx="3">
                  <c:v>0.8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30B108FB-5CDB-4A16-A51C-F932F74D208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32ECACCC-F617-4979-A751-B77B6E3820A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D9A06F67-032C-46ED-B0FA-F4446508C36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25</c:v>
                </c:pt>
                <c:pt idx="2">
                  <c:v>0.19</c:v>
                </c:pt>
                <c:pt idx="3">
                  <c:v>0.1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c:v>
                  </c:pt>
                  <c:pt idx="1">
                    <c:v>75%</c:v>
                  </c:pt>
                  <c:pt idx="2">
                    <c:v>81%</c:v>
                  </c:pt>
                  <c:pt idx="3">
                    <c:v>89%</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2</c:v>
                </c:pt>
                <c:pt idx="1">
                  <c:v>0</c:v>
                </c:pt>
                <c:pt idx="2">
                  <c:v>0.82</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0DA57637-233D-4C19-B60B-F8566F09849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1ACDCEB5-966A-4C10-8B56-C8B43167C82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6508D99B-5F83-4A3E-BA06-85B38CC0921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97CAA7AE-A54D-41E9-9FE4-FC32C499C01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8</c:v>
                </c:pt>
                <c:pt idx="1">
                  <c:v>0</c:v>
                </c:pt>
                <c:pt idx="2">
                  <c:v>0.18</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2%</c:v>
                  </c:pt>
                  <c:pt idx="1">
                    <c:v>-</c:v>
                  </c:pt>
                  <c:pt idx="2">
                    <c:v>82%</c:v>
                  </c:pt>
                  <c:pt idx="3">
                    <c:v>-</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3</c:v>
                </c:pt>
                <c:pt idx="1">
                  <c:v>0.82</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5971A4AE-9284-4C9F-8870-A24A9CCE3B6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526272F9-7CF6-4676-AF08-75F9934BC86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5A433098-4E40-4122-BB06-99B71CDF8AB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D043ED57-2A1A-4E3B-A2D8-091FB5E160D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7</c:v>
                </c:pt>
                <c:pt idx="1">
                  <c:v>0.18</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3%</c:v>
                  </c:pt>
                  <c:pt idx="1">
                    <c:v>82%</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2</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854C2307-7AE5-4655-ACB0-F1B4992DBDC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6A798402-DE7C-422A-9CED-986045AFC3A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8</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2%</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3</c:v>
                </c:pt>
                <c:pt idx="1">
                  <c:v>89</c:v>
                </c:pt>
                <c:pt idx="2">
                  <c:v>3</c:v>
                </c:pt>
                <c:pt idx="3">
                  <c:v>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1</c:v>
                </c:pt>
                <c:pt idx="1">
                  <c:v>6</c:v>
                </c:pt>
                <c:pt idx="2">
                  <c:v>2</c:v>
                </c:pt>
                <c:pt idx="3">
                  <c:v>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EF3A97AC-C53E-4B7F-9EE7-F6A73E335BB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73BAF951-2987-4741-95C5-4F2696CC0C8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EE818898-8593-40FF-B603-FE37B2B1DE5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56B5AFC9-B7F0-49C2-AE64-1CE2A6A1316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CDAC6E77-2D00-42E8-9AEC-225880E8AED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CAD1F0DF-F8E3-4A04-8DEE-95FA56A940C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7</c:v>
                </c:pt>
                <c:pt idx="1">
                  <c:v>7</c:v>
                </c:pt>
                <c:pt idx="2">
                  <c:v>4</c:v>
                </c:pt>
                <c:pt idx="3">
                  <c:v>3</c:v>
                </c:pt>
                <c:pt idx="4">
                  <c:v>1</c:v>
                </c:pt>
                <c:pt idx="5">
                  <c:v>4</c:v>
                </c:pt>
                <c:pt idx="6">
                  <c:v>4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47%</c:v>
                  </c:pt>
                  <c:pt idx="1">
                    <c:v>7%</c:v>
                  </c:pt>
                  <c:pt idx="2">
                    <c:v>4%</c:v>
                  </c:pt>
                  <c:pt idx="3">
                    <c:v>3%</c:v>
                  </c:pt>
                  <c:pt idx="4">
                    <c:v>1%</c:v>
                  </c:pt>
                  <c:pt idx="5">
                    <c:v>4%</c:v>
                  </c:pt>
                  <c:pt idx="6">
                    <c:v>40%</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8B74379A-98F9-45E5-971B-BD5DD52CE72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D4EBD23E-8E8D-47A0-97A5-2128A84C9E6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44046DD4-0FF0-4617-A404-83F64276157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54E32F25-79C6-4674-8B42-BF3A8CC0466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C88E758B-DE1C-436D-B8B2-84F28146A8D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74D3FD09-5977-409D-A949-1442E0659F9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2</c:v>
                </c:pt>
                <c:pt idx="1">
                  <c:v>7</c:v>
                </c:pt>
                <c:pt idx="2">
                  <c:v>5</c:v>
                </c:pt>
                <c:pt idx="3">
                  <c:v>5</c:v>
                </c:pt>
                <c:pt idx="4">
                  <c:v>11</c:v>
                </c:pt>
                <c:pt idx="5">
                  <c:v>5</c:v>
                </c:pt>
                <c:pt idx="6">
                  <c:v>3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2%</c:v>
                  </c:pt>
                  <c:pt idx="1">
                    <c:v>7%</c:v>
                  </c:pt>
                  <c:pt idx="2">
                    <c:v>5%</c:v>
                  </c:pt>
                  <c:pt idx="3">
                    <c:v>5%</c:v>
                  </c:pt>
                  <c:pt idx="4">
                    <c:v>11%</c:v>
                  </c:pt>
                  <c:pt idx="5">
                    <c:v>5%</c:v>
                  </c:pt>
                  <c:pt idx="6">
                    <c:v>31%</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06EF-47F1-B883-7748EC1E367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EF-47F1-B883-7748EC1E367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1FC1A725-A0AF-4BFD-B63B-A6027957EB3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98A3FD61-DE8E-4B6E-8DC5-E226938E7F0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2</c:v>
                </c:pt>
                <c:pt idx="1">
                  <c:v>8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2%</c:v>
                  </c:pt>
                  <c:pt idx="1">
                    <c:v>88%</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2F0-4CF1-80C7-205225AB80C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2F0-4CF1-80C7-205225AB80C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B3E1BB68-9702-4F7A-B56C-E38B968D2DF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62E4785C-B6B7-46B5-AAA7-267CEC5091D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0</c:v>
                </c:pt>
                <c:pt idx="1">
                  <c:v>9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0%</c:v>
                  </c:pt>
                  <c:pt idx="1">
                    <c:v>90%</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5CF-40B3-8374-492CB86772A0}"/>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CF-40B3-8374-492CB86772A0}"/>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185AC6AF-EF78-464B-B75D-F5AB868DF31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4F8D5EDF-E16B-4684-BD6A-960BCB8D8F0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1</c:v>
                </c:pt>
                <c:pt idx="1">
                  <c:v>7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1%</c:v>
                  </c:pt>
                  <c:pt idx="1">
                    <c:v>79%</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7A9C7FB3-0FBB-4BF7-A5D7-8100DEA7102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57A58ACB-DC5F-4AB5-AEA8-1F45A19FF42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F223F28F-09E9-4376-A4A2-46F3DBD361D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1A511BAD-506C-431D-B74A-311FD0F174C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6000000000000005</c:v>
                </c:pt>
                <c:pt idx="1">
                  <c:v>0.44</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56%</c:v>
                  </c:pt>
                  <c:pt idx="1">
                    <c:v>44%</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4D75319F-DEB5-48B3-BAFC-F0EF77FDD5C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AA4A71DA-EE51-484F-8EF9-284BD535F38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50110597-2D4E-4268-A91B-41B11807C72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C093A092-9F45-4BD8-8310-FCA0EC592F4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6000000000000005</c:v>
                </c:pt>
                <c:pt idx="1">
                  <c:v>0.43</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56%</c:v>
                  </c:pt>
                  <c:pt idx="1">
                    <c:v>43%</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819-49AB-9068-B304DBA3CCB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819-49AB-9068-B304DBA3CCB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64CDEB0C-2BA0-4E0D-8C55-82C65394E97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E811E9A8-1672-4211-AAB2-2B904F1E734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0</c:v>
                </c:pt>
                <c:pt idx="1">
                  <c:v>8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0%</c:v>
                  </c:pt>
                  <c:pt idx="1">
                    <c:v>80%</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3E6-406A-BD18-9D1352DD1788}"/>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3E6-406A-BD18-9D1352DD1788}"/>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74D0BAB4-6ABF-46BD-93D6-E97CB2B2B2A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1%</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83E6-406A-BD18-9D1352DD1788}"/>
                </c:ext>
              </c:extLst>
            </c:dLbl>
            <c:dLbl>
              <c:idx val="1"/>
              <c:tx>
                <c:rich>
                  <a:bodyPr/>
                  <a:lstStyle/>
                  <a:p>
                    <a:r>
                      <a:rPr lang="en-GB"/>
                      <a:t>99%</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c:v>
                </c:pt>
                <c:pt idx="1">
                  <c:v>9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q</c:v>
                  </c:pt>
                  <c:pt idx="1">
                    <c:v>99%p</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044-4A9A-8BF8-13AAE32259E6}"/>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044-4A9A-8BF8-13AAE32259E6}"/>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E6A1BE48-E9BA-431A-AA78-482C0B5EA1D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6FBB02BC-020A-4150-B479-CDAEF537310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c:v>
                </c:pt>
                <c:pt idx="1">
                  <c:v>9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c:v>
                  </c:pt>
                  <c:pt idx="1">
                    <c:v>92%</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3320F2E2-D432-42DA-B6AF-B2D51E88809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fld id="{25E4A0C4-05A1-49B9-9AC1-0E916401ACA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fld id="{6D1D1C35-916D-43C0-938B-5F6B4732613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3EB-456C-B74D-581899DAC290}"/>
                </c:ext>
              </c:extLst>
            </c:dLbl>
            <c:dLbl>
              <c:idx val="3"/>
              <c:tx>
                <c:rich>
                  <a:bodyPr/>
                  <a:lstStyle/>
                  <a:p>
                    <a:fld id="{68DD19EC-7FD3-4622-A6C5-7A0D3B81875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3EB-456C-B74D-581899DAC290}"/>
                </c:ext>
              </c:extLst>
            </c:dLbl>
            <c:dLbl>
              <c:idx val="4"/>
              <c:tx>
                <c:rich>
                  <a:bodyPr/>
                  <a:lstStyle/>
                  <a:p>
                    <a:fld id="{78265070-76BD-4EE6-B135-25540506B5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fld id="{704388BA-5AE8-4F9C-BE45-D0214E6A958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87354047-2927-4AFD-8FB8-58B466E22BE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1</c:v>
                </c:pt>
                <c:pt idx="1">
                  <c:v>91</c:v>
                </c:pt>
                <c:pt idx="2">
                  <c:v>81</c:v>
                </c:pt>
                <c:pt idx="3">
                  <c:v>74</c:v>
                </c:pt>
                <c:pt idx="4">
                  <c:v>94</c:v>
                </c:pt>
                <c:pt idx="5">
                  <c:v>36</c:v>
                </c:pt>
                <c:pt idx="6">
                  <c:v>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1%</c:v>
                  </c:pt>
                  <c:pt idx="1">
                    <c:v>91%</c:v>
                  </c:pt>
                  <c:pt idx="2">
                    <c:v>81%</c:v>
                  </c:pt>
                  <c:pt idx="3">
                    <c:v>74%</c:v>
                  </c:pt>
                  <c:pt idx="4">
                    <c:v>94%</c:v>
                  </c:pt>
                  <c:pt idx="5">
                    <c:v>36%</c:v>
                  </c:pt>
                  <c:pt idx="6">
                    <c:v>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r>
                      <a:rPr lang="en-GB"/>
                      <a:t>88%</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3E36-4621-A2A8-3ADDA83CA04C}"/>
                </c:ext>
              </c:extLst>
            </c:dLbl>
            <c:dLbl>
              <c:idx val="1"/>
              <c:tx>
                <c:rich>
                  <a:bodyPr/>
                  <a:lstStyle/>
                  <a:p>
                    <a:fld id="{C74DFF46-6607-439E-81DF-971238D6956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r>
                      <a:rPr lang="en-GB"/>
                      <a:t>7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3E36-4621-A2A8-3ADDA83CA04C}"/>
                </c:ext>
              </c:extLst>
            </c:dLbl>
            <c:dLbl>
              <c:idx val="3"/>
              <c:tx>
                <c:rich>
                  <a:bodyPr/>
                  <a:lstStyle/>
                  <a:p>
                    <a:r>
                      <a:rPr lang="en-GB"/>
                      <a:t>72%</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3E36-4621-A2A8-3ADDA83CA04C}"/>
                </c:ext>
              </c:extLst>
            </c:dLbl>
            <c:dLbl>
              <c:idx val="4"/>
              <c:tx>
                <c:rich>
                  <a:bodyPr/>
                  <a:lstStyle/>
                  <a:p>
                    <a:fld id="{A6DC9C96-83A5-4680-8DFE-485B35F5F97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r>
                      <a:rPr lang="en-GB"/>
                      <a:t>52%</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E36-4621-A2A8-3ADDA83CA04C}"/>
                </c:ext>
              </c:extLst>
            </c:dLbl>
            <c:dLbl>
              <c:idx val="6"/>
              <c:tx>
                <c:rich>
                  <a:bodyPr/>
                  <a:lstStyle/>
                  <a:p>
                    <a:fld id="{C5D33BB2-1F6C-47EE-A137-597D9F84729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8</c:v>
                </c:pt>
                <c:pt idx="1">
                  <c:v>92</c:v>
                </c:pt>
                <c:pt idx="2">
                  <c:v>76</c:v>
                </c:pt>
                <c:pt idx="3">
                  <c:v>72</c:v>
                </c:pt>
                <c:pt idx="4">
                  <c:v>89</c:v>
                </c:pt>
                <c:pt idx="5">
                  <c:v>52</c:v>
                </c:pt>
                <c:pt idx="6">
                  <c:v>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8%p</c:v>
                  </c:pt>
                  <c:pt idx="1">
                    <c:v>92%</c:v>
                  </c:pt>
                  <c:pt idx="2">
                    <c:v>76%p</c:v>
                  </c:pt>
                  <c:pt idx="3">
                    <c:v>72%p</c:v>
                  </c:pt>
                  <c:pt idx="4">
                    <c:v>89%</c:v>
                  </c:pt>
                  <c:pt idx="5">
                    <c:v>52%p</c:v>
                  </c:pt>
                  <c:pt idx="6">
                    <c:v>2%</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8</c:v>
                </c:pt>
                <c:pt idx="1">
                  <c:v>31</c:v>
                </c:pt>
                <c:pt idx="2">
                  <c:v>15</c:v>
                </c:pt>
                <c:pt idx="3">
                  <c:v>4</c:v>
                </c:pt>
                <c:pt idx="4">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8</c:v>
                </c:pt>
                <c:pt idx="1">
                  <c:v>32</c:v>
                </c:pt>
                <c:pt idx="2">
                  <c:v>12</c:v>
                </c:pt>
                <c:pt idx="3">
                  <c:v>5</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D08BCEAC-1951-4A16-80D6-850108340C6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1766CFC7-3B96-4355-AE09-8214DE8896F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9</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4</c15:f>
                <c15:dlblRangeCache>
                  <c:ptCount val="3"/>
                  <c:pt idx="0">
                    <c:v>99%</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EDAFFEA0-E8B1-4E51-93B0-C18746ED71B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F10102E8-5E14-4626-BE3F-359A996A492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9</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4</c15:f>
                <c15:dlblRangeCache>
                  <c:ptCount val="3"/>
                  <c:pt idx="0">
                    <c:v>99%</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8</c:v>
                </c:pt>
                <c:pt idx="1">
                  <c:v>21</c:v>
                </c:pt>
                <c:pt idx="2">
                  <c:v>7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10</c:v>
                </c:pt>
                <c:pt idx="1">
                  <c:v>36</c:v>
                </c:pt>
                <c:pt idx="2">
                  <c:v>5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0</c:v>
                </c:pt>
                <c:pt idx="1">
                  <c:v>18</c:v>
                </c:pt>
                <c:pt idx="2">
                  <c:v>29</c:v>
                </c:pt>
                <c:pt idx="3">
                  <c:v>18</c:v>
                </c:pt>
                <c:pt idx="4">
                  <c:v>2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2</c:v>
                </c:pt>
                <c:pt idx="1">
                  <c:v>23</c:v>
                </c:pt>
                <c:pt idx="2">
                  <c:v>20</c:v>
                </c:pt>
                <c:pt idx="3">
                  <c:v>24</c:v>
                </c:pt>
                <c:pt idx="4">
                  <c:v>2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8.9999999999999993E-3</c:v>
                </c:pt>
                <c:pt idx="1">
                  <c:v>0.11799999999999999</c:v>
                </c:pt>
                <c:pt idx="2">
                  <c:v>0.17299999999999999</c:v>
                </c:pt>
                <c:pt idx="3">
                  <c:v>0.186</c:v>
                </c:pt>
                <c:pt idx="4">
                  <c:v>0.514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3.5000000000000003E-2</c:v>
                </c:pt>
                <c:pt idx="1">
                  <c:v>0.19400000000000001</c:v>
                </c:pt>
                <c:pt idx="2">
                  <c:v>0.184</c:v>
                </c:pt>
                <c:pt idx="3">
                  <c:v>0.187</c:v>
                </c:pt>
                <c:pt idx="4">
                  <c:v>0.4</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7</c:v>
                </c:pt>
                <c:pt idx="1">
                  <c:v>13</c:v>
                </c:pt>
                <c:pt idx="2">
                  <c:v>26</c:v>
                </c:pt>
                <c:pt idx="3">
                  <c:v>23</c:v>
                </c:pt>
                <c:pt idx="4">
                  <c:v>3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8</c:v>
                </c:pt>
                <c:pt idx="1">
                  <c:v>15</c:v>
                </c:pt>
                <c:pt idx="2">
                  <c:v>21</c:v>
                </c:pt>
                <c:pt idx="3">
                  <c:v>23</c:v>
                </c:pt>
                <c:pt idx="4">
                  <c:v>3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3</c:v>
                </c:pt>
                <c:pt idx="1">
                  <c:v>21</c:v>
                </c:pt>
                <c:pt idx="2">
                  <c:v>28</c:v>
                </c:pt>
                <c:pt idx="3">
                  <c:v>20</c:v>
                </c:pt>
                <c:pt idx="4">
                  <c:v>1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6</c:v>
                </c:pt>
                <c:pt idx="1">
                  <c:v>32</c:v>
                </c:pt>
                <c:pt idx="2">
                  <c:v>17</c:v>
                </c:pt>
                <c:pt idx="3">
                  <c:v>13</c:v>
                </c:pt>
                <c:pt idx="4">
                  <c:v>1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A94B9C3D-A80E-45B6-9E79-BC2471C3C96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E62F0A1F-B8CC-49D7-90A4-B62B9BABC93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FDD1FD10-DF02-4841-A6A2-E411FA696AE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F3ABFCBE-B5FA-481A-93FC-AD011355129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6</c:v>
                </c:pt>
                <c:pt idx="1">
                  <c:v>0</c:v>
                </c:pt>
                <c:pt idx="2">
                  <c:v>0.1</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86%</c:v>
                  </c:pt>
                  <c:pt idx="1">
                    <c:v>-</c:v>
                  </c:pt>
                  <c:pt idx="2">
                    <c:v>10%</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633DBC7F-42A3-4574-9755-1304B61A491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26A2777C-78B7-4233-9993-4F26EB3C810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EA8CCCE8-303F-427E-A0EA-895BF5E76A3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22DD31A8-2AB4-48A8-9881-E442703789F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64</c:v>
                </c:pt>
                <c:pt idx="1">
                  <c:v>0</c:v>
                </c:pt>
                <c:pt idx="2">
                  <c:v>0.28999999999999998</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64%</c:v>
                  </c:pt>
                  <c:pt idx="1">
                    <c:v>-</c:v>
                  </c:pt>
                  <c:pt idx="2">
                    <c:v>29%</c:v>
                  </c:pt>
                  <c:pt idx="3">
                    <c:v>-</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7</c:v>
                </c:pt>
                <c:pt idx="1">
                  <c:v>11</c:v>
                </c:pt>
                <c:pt idx="2">
                  <c:v>29</c:v>
                </c:pt>
                <c:pt idx="3">
                  <c:v>22</c:v>
                </c:pt>
                <c:pt idx="4">
                  <c:v>3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9</c:v>
                </c:pt>
                <c:pt idx="1">
                  <c:v>16</c:v>
                </c:pt>
                <c:pt idx="2">
                  <c:v>25</c:v>
                </c:pt>
                <c:pt idx="3">
                  <c:v>20</c:v>
                </c:pt>
                <c:pt idx="4">
                  <c:v>3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7</c:v>
                </c:pt>
                <c:pt idx="1">
                  <c:v>24</c:v>
                </c:pt>
                <c:pt idx="2">
                  <c:v>46</c:v>
                </c:pt>
                <c:pt idx="3">
                  <c:v>2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18</c:v>
                </c:pt>
                <c:pt idx="1">
                  <c:v>33</c:v>
                </c:pt>
                <c:pt idx="2">
                  <c:v>36</c:v>
                </c:pt>
                <c:pt idx="3">
                  <c:v>1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4</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3</c:v>
                </c:pt>
                <c:pt idx="1">
                  <c:v>36</c:v>
                </c:pt>
                <c:pt idx="2">
                  <c:v>15</c:v>
                </c:pt>
                <c:pt idx="3">
                  <c:v>4</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5</c:v>
                </c:pt>
                <c:pt idx="1">
                  <c:v>24</c:v>
                </c:pt>
                <c:pt idx="2">
                  <c:v>6</c:v>
                </c:pt>
                <c:pt idx="3">
                  <c:v>2</c:v>
                </c:pt>
                <c:pt idx="4">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3</c:v>
                </c:pt>
                <c:pt idx="1">
                  <c:v>50</c:v>
                </c:pt>
                <c:pt idx="2">
                  <c:v>15</c:v>
                </c:pt>
                <c:pt idx="3">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2</c:v>
                </c:pt>
                <c:pt idx="1">
                  <c:v>52</c:v>
                </c:pt>
                <c:pt idx="2">
                  <c:v>13</c:v>
                </c:pt>
                <c:pt idx="3">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34</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863-4EF3-8628-514246B9651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863-4EF3-8628-514246B9651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62278030-D02C-47A7-888A-7EA4DB3F7C7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1C27B5F6-CFC1-46D6-A62C-CE7997E3157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0</c:v>
                </c:pt>
                <c:pt idx="1">
                  <c:v>2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0%</c:v>
                  </c:pt>
                  <c:pt idx="1">
                    <c:v>20%</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E5E-4713-BCB6-17010B44716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E5E-4713-BCB6-17010B44716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9A555F25-4CD6-4D98-AAC4-26E56F10A66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E753F7CB-0372-488B-95C8-F91E4799963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3</c:v>
                </c:pt>
                <c:pt idx="1">
                  <c:v>1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3%</c:v>
                  </c:pt>
                  <c:pt idx="1">
                    <c:v>17%</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FB6-49AC-A845-714BC7862DE1}"/>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FB6-49AC-A845-714BC7862DE1}"/>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AA122757-E83F-4D83-B7C4-CBDC8AE69C9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64CA1D0E-E75B-4AD7-9DF1-A6A53D0C32C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6</c:v>
                </c:pt>
                <c:pt idx="1">
                  <c:v>3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6%</c:v>
                  </c:pt>
                  <c:pt idx="1">
                    <c:v>34%</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1B2-481E-8927-CB542BF48EB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1B2-481E-8927-CB542BF48EB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8D7B5359-5FFA-4CCF-ABF4-080EF69BAE2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46C01429-F840-4862-AF9C-57ADFB0187A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7</c:v>
                </c:pt>
                <c:pt idx="1">
                  <c:v>2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7%</c:v>
                  </c:pt>
                  <c:pt idx="1">
                    <c:v>23%</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BD0-417A-9AE1-625975EDEF4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BD0-417A-9AE1-625975EDEF4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8B9E19A4-8A0D-4F9C-B768-94137A42DA6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CC578C6C-727D-4062-8A37-E748781F7FF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5</c:v>
                </c:pt>
                <c:pt idx="1">
                  <c:v>6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5%</c:v>
                  </c:pt>
                  <c:pt idx="1">
                    <c:v>65%</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31F-4356-B084-576816CB2DE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31F-4356-B084-576816CB2DE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034B0B4B-CDFA-47A0-886C-082644D4311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48%</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331F-4356-B084-576816CB2DE3}"/>
                </c:ext>
              </c:extLst>
            </c:dLbl>
            <c:dLbl>
              <c:idx val="1"/>
              <c:tx>
                <c:rich>
                  <a:bodyPr/>
                  <a:lstStyle/>
                  <a:p>
                    <a:r>
                      <a:rPr lang="en-GB"/>
                      <a:t>52%</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8</c:v>
                </c:pt>
                <c:pt idx="1">
                  <c:v>5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8%p</c:v>
                  </c:pt>
                  <c:pt idx="1">
                    <c:v>52%q</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E81-4665-B9F1-19FE31D5928C}"/>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E81-4665-B9F1-19FE31D5928C}"/>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87C56AD4-8CD7-4565-A7BA-820AFC02EF2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EB016278-6037-4968-884E-DD8D3BCA926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3</c:v>
                </c:pt>
                <c:pt idx="1">
                  <c:v>5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3%</c:v>
                  </c:pt>
                  <c:pt idx="1">
                    <c:v>57%</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1DD-430C-8FF3-E4B09270E25F}"/>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DD-430C-8FF3-E4B09270E25F}"/>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6D758AE2-2737-47A8-B8E3-4A687C0A81C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39%</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51DD-430C-8FF3-E4B09270E25F}"/>
                </c:ext>
              </c:extLst>
            </c:dLbl>
            <c:dLbl>
              <c:idx val="1"/>
              <c:tx>
                <c:rich>
                  <a:bodyPr/>
                  <a:lstStyle/>
                  <a:p>
                    <a:r>
                      <a:rPr lang="en-GB"/>
                      <a:t>61%</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9</c:v>
                </c:pt>
                <c:pt idx="1">
                  <c:v>6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9%p</c:v>
                  </c:pt>
                  <c:pt idx="1">
                    <c:v>61%q</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F3E-4C45-9DAC-B2929C4B2C2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F3E-4C45-9DAC-B2929C4B2C2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D3E53BBD-AD05-48AF-830B-560E88742D8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28A7CAA7-AD90-4D55-9A50-85C6A4D593C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0</c:v>
                </c:pt>
                <c:pt idx="1">
                  <c:v>2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0%</c:v>
                  </c:pt>
                  <c:pt idx="1">
                    <c:v>20%</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F81-41A0-AA5F-E21FFFB8EB7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F81-41A0-AA5F-E21FFFB8EB7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A03224CB-E9A5-4C2E-8CBD-D08172B7E7E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47780E8-A37F-4F60-A466-6CCAECCBB95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F81-41A0-AA5F-E21FFFB8EB7E}"/>
                </c:ext>
              </c:extLst>
            </c:dLbl>
            <c:dLbl>
              <c:idx val="1"/>
              <c:tx>
                <c:rich>
                  <a:bodyPr/>
                  <a:lstStyle/>
                  <a:p>
                    <a:fld id="{CF97E6E0-2414-49F6-BD3A-77C28FEDD3C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4</c:v>
                </c:pt>
                <c:pt idx="1">
                  <c:v>2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4%</c:v>
                  </c:pt>
                  <c:pt idx="1">
                    <c:v>26%</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532-49D4-9643-2B7F1FC6412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532-49D4-9643-2B7F1FC6412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24231655-889A-499F-8ACD-6DFD1D6C406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55%</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F532-49D4-9643-2B7F1FC6412B}"/>
                </c:ext>
              </c:extLst>
            </c:dLbl>
            <c:dLbl>
              <c:idx val="1"/>
              <c:tx>
                <c:rich>
                  <a:bodyPr/>
                  <a:lstStyle/>
                  <a:p>
                    <a:r>
                      <a:rPr lang="en-GB"/>
                      <a:t>4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5</c:v>
                </c:pt>
                <c:pt idx="1">
                  <c:v>4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5%q</c:v>
                  </c:pt>
                  <c:pt idx="1">
                    <c:v>45%p</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C56-4EA4-9136-CE48FDDBE16D}"/>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C56-4EA4-9136-CE48FDDBE16D}"/>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E5B1D2DB-133A-42BC-B8B3-68D53E088DB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8728C051-1DCF-4895-93A1-97AF1322560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1</c:v>
                </c:pt>
                <c:pt idx="1">
                  <c:v>4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1%</c:v>
                  </c:pt>
                  <c:pt idx="1">
                    <c:v>49%</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011-40D3-80BA-F4CA421B82A7}"/>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011-40D3-80BA-F4CA421B82A7}"/>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AD23A42B-C349-4E03-8931-E1EF3B7B687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2E1EEDEC-CD8F-47E6-9087-AD27D9B09A6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6</c:v>
                </c:pt>
                <c:pt idx="1">
                  <c:v>2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6%</c:v>
                  </c:pt>
                  <c:pt idx="1">
                    <c:v>24%</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A96-46F4-8DED-A8EE18A7949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A96-46F4-8DED-A8EE18A7949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9B44DEF7-6AFD-4079-BD89-026ED5DC500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AB3D41A9-CED1-4C7B-A862-9966DE2506B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3</c:v>
                </c:pt>
                <c:pt idx="1">
                  <c:v>2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3%</c:v>
                  </c:pt>
                  <c:pt idx="1">
                    <c:v>27%</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8</c:v>
                </c:pt>
                <c:pt idx="1">
                  <c:v>31</c:v>
                </c:pt>
                <c:pt idx="2">
                  <c:v>2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5</c:v>
                </c:pt>
                <c:pt idx="1">
                  <c:v>46</c:v>
                </c:pt>
                <c:pt idx="2">
                  <c:v>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960A50FA-2040-4A03-9659-2B252113B61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4591A29C-7B6B-480A-B432-3E2571158E2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C184D515-A2A0-4B30-A75F-049CF105E49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2DE751CC-F468-4A6C-8947-35E291AB5C0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9917DC77-0246-4ACE-85FA-B45BDF722CE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CED777A5-FD74-45CA-A62B-9BAEBCCED24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59</c:v>
                </c:pt>
                <c:pt idx="1">
                  <c:v>7</c:v>
                </c:pt>
                <c:pt idx="2">
                  <c:v>65</c:v>
                </c:pt>
                <c:pt idx="3">
                  <c:v>27</c:v>
                </c:pt>
                <c:pt idx="4">
                  <c:v>18</c:v>
                </c:pt>
                <c:pt idx="5">
                  <c:v>13</c:v>
                </c:pt>
                <c:pt idx="6">
                  <c:v>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9%</c:v>
                  </c:pt>
                  <c:pt idx="1">
                    <c:v>7%</c:v>
                  </c:pt>
                  <c:pt idx="2">
                    <c:v>65%</c:v>
                  </c:pt>
                  <c:pt idx="3">
                    <c:v>27%</c:v>
                  </c:pt>
                  <c:pt idx="4">
                    <c:v>18%</c:v>
                  </c:pt>
                  <c:pt idx="5">
                    <c:v>13%</c:v>
                  </c:pt>
                  <c:pt idx="6">
                    <c:v>8%</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F8CBA811-DEAB-4C09-9EA1-9F04D010A38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25B3AA10-4BAE-433F-BA77-9818E4A5CDC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r>
                      <a:rPr lang="en-GB"/>
                      <a:t>33%</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121A-46C7-99A3-C7EC76CE57AC}"/>
                </c:ext>
              </c:extLst>
            </c:dLbl>
            <c:dLbl>
              <c:idx val="4"/>
              <c:tx>
                <c:rich>
                  <a:bodyPr/>
                  <a:lstStyle/>
                  <a:p>
                    <a:fld id="{25ABA059-4EC1-4B67-AB2D-23926F4CF3E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A1DA6099-623F-4239-B811-D4C5D74A6EA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352E0B8E-A18F-4DA4-A715-5C4BB45D4EE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7</c:v>
                </c:pt>
                <c:pt idx="1">
                  <c:v>17</c:v>
                </c:pt>
                <c:pt idx="2">
                  <c:v>40</c:v>
                </c:pt>
                <c:pt idx="3">
                  <c:v>33</c:v>
                </c:pt>
                <c:pt idx="4">
                  <c:v>9</c:v>
                </c:pt>
                <c:pt idx="5">
                  <c:v>17</c:v>
                </c:pt>
                <c:pt idx="6">
                  <c:v>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27%</c:v>
                  </c:pt>
                  <c:pt idx="1">
                    <c:v>17%</c:v>
                  </c:pt>
                  <c:pt idx="2">
                    <c:v>40%</c:v>
                  </c:pt>
                  <c:pt idx="3">
                    <c:v>33%q</c:v>
                  </c:pt>
                  <c:pt idx="4">
                    <c:v>9%</c:v>
                  </c:pt>
                  <c:pt idx="5">
                    <c:v>17%</c:v>
                  </c:pt>
                  <c:pt idx="6">
                    <c:v>8%</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6</c:v>
                </c:pt>
                <c:pt idx="1">
                  <c:v>34</c:v>
                </c:pt>
                <c:pt idx="2">
                  <c:v>8</c:v>
                </c:pt>
                <c:pt idx="3">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61</c:v>
                </c:pt>
                <c:pt idx="1">
                  <c:v>37</c:v>
                </c:pt>
                <c:pt idx="2">
                  <c:v>3</c:v>
                </c:pt>
                <c:pt idx="3">
                  <c:v>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40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6%</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c:v>
                </c:pt>
                <c:pt idx="1">
                  <c:v>0.87</c:v>
                </c:pt>
                <c:pt idx="2">
                  <c:v>0.81</c:v>
                </c:pt>
                <c:pt idx="3">
                  <c:v>0.92</c:v>
                </c:pt>
                <c:pt idx="4">
                  <c:v>0.85</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E93F7258-298C-4840-8DCA-643C484E7F3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68BFF6E0-6598-4E26-91E9-B0C877D1EA2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E4AA33A9-A61E-4A99-93CB-1DCA851FD27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FC822D52-128B-4B1D-8E93-780DBF090FF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c:v>
                </c:pt>
                <c:pt idx="1">
                  <c:v>0.13</c:v>
                </c:pt>
                <c:pt idx="2">
                  <c:v>0.19</c:v>
                </c:pt>
                <c:pt idx="3">
                  <c:v>0.08</c:v>
                </c:pt>
                <c:pt idx="4">
                  <c:v>0.15</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c:v>
                  </c:pt>
                  <c:pt idx="1">
                    <c:v>87%</c:v>
                  </c:pt>
                  <c:pt idx="2">
                    <c:v>81%</c:v>
                  </c:pt>
                  <c:pt idx="3">
                    <c:v>92%</c:v>
                  </c:pt>
                  <c:pt idx="4">
                    <c:v>85%</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FRIMLEY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FRIMLEY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FRIMLEY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FRIMLEY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FRIMLEY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3100" b="0" dirty="0">
                <a:solidFill>
                  <a:prstClr val="white"/>
                </a:solidFill>
                <a:latin typeface="Arial Black" panose="020B0A04020102020204" pitchFamily="34" charset="0"/>
              </a:rPr>
              <a:t>FRIMLEY INTEGRATED CARE SYSTEM</a:t>
            </a:r>
            <a:endParaRPr lang="en-GB" sz="31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16920969"/>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012370140"/>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31635718"/>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Describing their experience at the last annual review as good
Healthcare professionals providing support to monitor blood sugar levels
Healthcare professionals providing support in taking medicine</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970602073"/>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FRIMLEY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82726712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255222026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1% of respondents who were marked as Type 1 in the sample selected ‘Type 1’, 6% selected ‘Type 2’, 2% selected ‘Other’ and *% selected ‘I don’t know’ ​</a:t>
            </a:r>
          </a:p>
          <a:p>
            <a:pPr marL="171450" indent="-171450">
              <a:buFont typeface="Arial" panose="020B0604020202020204" pitchFamily="34" charset="0"/>
              <a:buChar char="•"/>
              <a:defRPr/>
            </a:pPr>
            <a:r>
              <a:rPr lang="en-GB" sz="1200" dirty="0">
                <a:solidFill>
                  <a:schemeClr val="tx1"/>
                </a:solidFill>
                <a:effectLst/>
              </a:rPr>
              <a:t>89% of respondents who were marked as Type 2 in the sample selected ‘Type 2’, 3% selected ‘Type 1’, 3% selected ‘Other’ and 5%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466); Type 2, ICS (533)).</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4218584468"/>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496646063"/>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1115708825"/>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604817202"/>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57065650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412); Type 2, National (19,941), ICS (425))</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329105997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342479197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407); Type 2, National (22,278), ICS (478))</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37949493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258685513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71); Type 2, National (21,082), ICS (452))</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28664645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235096375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466); Type 2, National (24,180), ICS (532))</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4060093201"/>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221152520"/>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2351849585"/>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817276849"/>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259637643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460); Type 2, National (22,482), ICS (494))</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09584869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30668974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344666999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233866005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352816263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241089782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420064854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428522871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133443768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460); Type 2, National (22,670), ICS (495))</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88199796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132905970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147194761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281717774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413563936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2777377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184598513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164172566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340212475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462); Type 2, National (24,076), ICS (528))</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110099894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293591882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77896532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60355004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10272618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416432853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404664864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81865072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465); Type 2, National (24,153), ICS (528))</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424963081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67509656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93084114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148361094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252429610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104595158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230788496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370180427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109845794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465); Type 2, National (24,135), ICS (532))</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182631362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144775722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261424832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129322323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350133742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301980473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14662223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206811136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247299458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65); Type 2, National (24,084), ICS (527))</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359412886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215204235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178537929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215088330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217138807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4735678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96452265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247851888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265723257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65); Type 2, National (24,070), ICS (528))</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247940707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2463320699"/>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12037018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148038530"/>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559052176"/>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68873450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3471623976"/>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290783720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179775437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65); Type 2, National (24,260), ICS (530))</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284529719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200798820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176731254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332962188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311178139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41702028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398940006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217062446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147813307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466); Type 2, National (24,267), ICS (532))</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180180901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103931834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412350217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382185895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327484362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2144378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377250179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284265222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56750732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65); Type 2, National (24,196), ICS (530))</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268072202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147945484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424879774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465); Type 2, National (24,019), ICS (527))</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371455045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53059465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215); Type 2, National (11,860), ICS (232))</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85181497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305204322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448); Type 2, National (21,228), ICS (479))</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255477445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55294636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444); Type 2, National (20,915), ICS (462))</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362073213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277627239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419); Type 2, National (20,086), ICS (449))</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56122852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263740067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440); Type 2, National (21,890), ICS (479))</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381740545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366877016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402); Type 2, National (18,585), ICS (403))</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242305165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56445244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114531632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124052558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22298791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388085755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14221088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379892771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451); Type 2, National (22,580), ICS (484))</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192372708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1121558188"/>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402854908"/>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1015386533"/>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3646917711"/>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217359819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312); Type 2, National (12,350), ICS (266))</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402420501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2134496457"/>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295999777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241924099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130267856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116673322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6175105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165423567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450); Type 2, National (10,911), ICS (252))</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354334614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1326218064"/>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43879830"/>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1038108480"/>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3983123278"/>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552235804"/>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3308862267"/>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457))</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4243761660"/>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349628281"/>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2414876203"/>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4204081602"/>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893143225"/>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4279177649"/>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489))</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FRIMLEY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612</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1,003</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38%</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67</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36</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057</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555</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2874353342"/>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3176980079"/>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4181208434"/>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2021132303"/>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3840903715"/>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4039070173"/>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3311441315"/>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FRIMLEY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165861921"/>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Attending an annual review ever
Having a weight and BMI check as part of their last annual review
Having a foot check as part of their last annual review
Having a urine test as part of their last annual review
Having a smoking status review as part of their last annual review
Healthcare professionals providing support with eating well
Having confidence in using devices to manage their diabete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158876540"/>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1942106112"/>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787530479"/>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2.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76A31D0-D410-459F-8B3A-5041DA332E8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898</TotalTime>
  <Words>5356</Words>
  <Application>Microsoft Office PowerPoint</Application>
  <PresentationFormat>Widescreen</PresentationFormat>
  <Paragraphs>809</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Arial Black</vt:lpstr>
      <vt:lpstr>Roboto</vt:lpstr>
      <vt:lpstr>Arial</vt:lpstr>
      <vt:lpstr>Wingdings 3</vt:lpstr>
      <vt:lpstr>Segoe UI</vt:lpstr>
      <vt:lpstr>Barlow</vt:lpstr>
      <vt:lpstr>HelveticaNeueLT Std Lt Cn</vt:lpstr>
      <vt:lpstr>Arial (Body)</vt:lpstr>
      <vt:lpstr>Wingdings</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Emily Fudge</cp:lastModifiedBy>
  <cp:revision>173</cp:revision>
  <cp:lastPrinted>2024-09-17T13:37:47Z</cp:lastPrinted>
  <dcterms:created xsi:type="dcterms:W3CDTF">2024-06-17T14:42:21Z</dcterms:created>
  <dcterms:modified xsi:type="dcterms:W3CDTF">2024-12-04T12:0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